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1248" r:id="rId5"/>
  </p:sldIdLst>
  <p:sldSz cx="12192000" cy="6858000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795D35-61EF-718F-DD47-FFD7180F101E}" name="Doris VandeSand" initials="DV" userId="S::doris.vandesand@leadership-choices.com::8647c8ff-1066-49f3-8c53-6b6841928893" providerId="AD"/>
  <p188:author id="{935B2336-0F36-281B-1531-6B89579466C5}" name="Swaan Barrett" initials="SB" userId="d71c4570a1202fb5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B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2578" y="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sten Drath" userId="af6e77e2-d9a8-4b1b-9244-2fffb3d683cf" providerId="ADAL" clId="{B06CD8E6-E370-4544-AF47-78725755AD6D}"/>
    <pc:docChg chg="modSld">
      <pc:chgData name="Karsten Drath" userId="af6e77e2-d9a8-4b1b-9244-2fffb3d683cf" providerId="ADAL" clId="{B06CD8E6-E370-4544-AF47-78725755AD6D}" dt="2026-05-09T05:25:23.316" v="32" actId="20577"/>
      <pc:docMkLst>
        <pc:docMk/>
      </pc:docMkLst>
      <pc:sldChg chg="modSp mod">
        <pc:chgData name="Karsten Drath" userId="af6e77e2-d9a8-4b1b-9244-2fffb3d683cf" providerId="ADAL" clId="{B06CD8E6-E370-4544-AF47-78725755AD6D}" dt="2026-05-09T05:25:23.316" v="32" actId="20577"/>
        <pc:sldMkLst>
          <pc:docMk/>
          <pc:sldMk cId="1047581186" sldId="1248"/>
        </pc:sldMkLst>
        <pc:spChg chg="mod">
          <ac:chgData name="Karsten Drath" userId="af6e77e2-d9a8-4b1b-9244-2fffb3d683cf" providerId="ADAL" clId="{B06CD8E6-E370-4544-AF47-78725755AD6D}" dt="2026-05-09T05:25:02.673" v="7" actId="6549"/>
          <ac:spMkLst>
            <pc:docMk/>
            <pc:sldMk cId="1047581186" sldId="1248"/>
            <ac:spMk id="41" creationId="{60F32C25-F0B1-4F50-BB62-D7BDE8B0ECEC}"/>
          </ac:spMkLst>
        </pc:spChg>
        <pc:spChg chg="mod">
          <ac:chgData name="Karsten Drath" userId="af6e77e2-d9a8-4b1b-9244-2fffb3d683cf" providerId="ADAL" clId="{B06CD8E6-E370-4544-AF47-78725755AD6D}" dt="2026-05-09T05:25:23.316" v="32" actId="20577"/>
          <ac:spMkLst>
            <pc:docMk/>
            <pc:sldMk cId="1047581186" sldId="1248"/>
            <ac:spMk id="42" creationId="{FAC31381-1989-4980-AAEB-1C8EA01DAC2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E8646B46-8D99-45E9-AF71-E912C411256D}" type="datetimeFigureOut">
              <a:rPr lang="de-DE" smtClean="0"/>
              <a:t>09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ED63D50A-3827-4933-981B-364F7BD2003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844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Trebuchet MS" panose="020B0603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38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5C66E7-8509-43D8-9F83-9ADE354E2BCE}" type="slidenum">
              <a:rPr lang="de-DE">
                <a:solidFill>
                  <a:srgbClr val="000000"/>
                </a:solidFill>
                <a:latin typeface="Trebuchet MS" panose="020B0603020202020204" pitchFamily="34" charset="0"/>
              </a:rPr>
              <a:t>1</a:t>
            </a:fld>
            <a:endParaRPr lang="de-DE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345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_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486429"/>
              </p:ext>
            </p:ext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990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0" y="555651"/>
            <a:ext cx="8054998" cy="489775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itel 3"/>
          <p:cNvSpPr>
            <a:spLocks noGrp="1"/>
          </p:cNvSpPr>
          <p:nvPr>
            <p:ph type="ctrTitle" hasCustomPrompt="1"/>
          </p:nvPr>
        </p:nvSpPr>
        <p:spPr>
          <a:xfrm>
            <a:off x="5965400" y="1135087"/>
            <a:ext cx="5811696" cy="5068604"/>
          </a:xfrm>
          <a:prstGeom prst="rect">
            <a:avLst/>
          </a:prstGeom>
          <a:solidFill>
            <a:srgbClr val="91AB00">
              <a:alpha val="89804"/>
            </a:srgbClr>
          </a:solidFill>
        </p:spPr>
        <p:txBody>
          <a:bodyPr wrap="square" lIns="287959" anchor="ctr" anchorCtr="0">
            <a:noAutofit/>
          </a:bodyPr>
          <a:lstStyle>
            <a:lvl1pPr>
              <a:lnSpc>
                <a:spcPct val="100000"/>
              </a:lnSpc>
              <a:defRPr sz="399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80204" y="6432955"/>
            <a:ext cx="6856495" cy="1959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7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" y="6432955"/>
            <a:ext cx="7336699" cy="1959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7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965400" y="5663457"/>
            <a:ext cx="5028346" cy="279151"/>
          </a:xfrm>
        </p:spPr>
        <p:txBody>
          <a:bodyPr lIns="287959">
            <a:spAutoFit/>
          </a:bodyPr>
          <a:lstStyle>
            <a:lvl1pPr>
              <a:defRPr sz="1814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 I Name</a:t>
            </a:r>
          </a:p>
        </p:txBody>
      </p:sp>
    </p:spTree>
    <p:extLst>
      <p:ext uri="{BB962C8B-B14F-4D97-AF65-F5344CB8AC3E}">
        <p14:creationId xmlns:p14="http://schemas.microsoft.com/office/powerpoint/2010/main" val="4008752705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94615288"/>
              </p:ext>
            </p:ext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4655" y="1339060"/>
            <a:ext cx="11362691" cy="496315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/>
              <a:t>Level 0</a:t>
            </a:r>
          </a:p>
          <a:p>
            <a:pPr lvl="1"/>
            <a:r>
              <a:rPr lang="de-DE"/>
              <a:t>Level 1</a:t>
            </a:r>
          </a:p>
          <a:p>
            <a:pPr lvl="2"/>
            <a:r>
              <a:rPr lang="de-DE"/>
              <a:t>Level 2</a:t>
            </a:r>
          </a:p>
          <a:p>
            <a:pPr lvl="3"/>
            <a:r>
              <a:rPr lang="de-DE"/>
              <a:t>Level 3</a:t>
            </a:r>
          </a:p>
        </p:txBody>
      </p:sp>
    </p:spTree>
    <p:extLst>
      <p:ext uri="{BB962C8B-B14F-4D97-AF65-F5344CB8AC3E}">
        <p14:creationId xmlns:p14="http://schemas.microsoft.com/office/powerpoint/2010/main" val="3908198251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40863"/>
              </p:ext>
            </p:extLst>
          </p:nvPr>
        </p:nvGraphicFramePr>
        <p:xfrm>
          <a:off x="1814" y="1445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4" y="1445"/>
                        <a:ext cx="180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8041612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60159220"/>
              </p:ext>
            </p:extLst>
          </p:nvPr>
        </p:nvGraphicFramePr>
        <p:xfrm>
          <a:off x="1814" y="1445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4" y="1445"/>
                        <a:ext cx="180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31" name="Titelplatzhalter 13"/>
          <p:cNvSpPr>
            <a:spLocks noGrp="1"/>
          </p:cNvSpPr>
          <p:nvPr>
            <p:ph type="title"/>
          </p:nvPr>
        </p:nvSpPr>
        <p:spPr bwMode="auto">
          <a:xfrm>
            <a:off x="414655" y="319648"/>
            <a:ext cx="11362691" cy="758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dit title master format by clicking</a:t>
            </a:r>
            <a:br>
              <a:rPr lang="de-DE"/>
            </a:br>
            <a:endParaRPr lang="en-US"/>
          </a:p>
        </p:txBody>
      </p:sp>
      <p:sp>
        <p:nvSpPr>
          <p:cNvPr id="1032" name="Textplatzhalter 14"/>
          <p:cNvSpPr>
            <a:spLocks noGrp="1"/>
          </p:cNvSpPr>
          <p:nvPr>
            <p:ph type="body" idx="1"/>
          </p:nvPr>
        </p:nvSpPr>
        <p:spPr bwMode="auto">
          <a:xfrm>
            <a:off x="414655" y="1339060"/>
            <a:ext cx="11362691" cy="4963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dit text master formats by clicking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</p:txBody>
      </p:sp>
      <p:sp>
        <p:nvSpPr>
          <p:cNvPr id="4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14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15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23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24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32" name="Abgerundetes Rechteck 3"/>
          <p:cNvSpPr/>
          <p:nvPr/>
        </p:nvSpPr>
        <p:spPr bwMode="auto">
          <a:xfrm rot="5400000">
            <a:off x="124539" y="6317350"/>
            <a:ext cx="165583" cy="414652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33" name="Textfeld 4"/>
          <p:cNvSpPr txBox="1"/>
          <p:nvPr/>
        </p:nvSpPr>
        <p:spPr>
          <a:xfrm>
            <a:off x="3" y="6454846"/>
            <a:ext cx="414652" cy="125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pic>
        <p:nvPicPr>
          <p:cNvPr id="43" name="Grafik 2" descr="RZ Logo Leadership choice.jp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1185" y="6339654"/>
            <a:ext cx="2418819" cy="362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1411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ransition advClick="0"/>
  <p:hf hdr="0" ftr="0" dt="0"/>
  <p:txStyles>
    <p:titleStyle>
      <a:lvl1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 i="0" u="none">
          <a:solidFill>
            <a:srgbClr val="4D93BF"/>
          </a:solidFill>
          <a:latin typeface="+mj-lt"/>
          <a:ea typeface="+mj-ea"/>
          <a:cs typeface="+mj-cs"/>
        </a:defRPr>
      </a:lvl1pPr>
      <a:lvl2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2pPr>
      <a:lvl3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3pPr>
      <a:lvl4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4pPr>
      <a:lvl5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5pPr>
      <a:lvl6pPr marL="414585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6pPr>
      <a:lvl7pPr marL="829170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7pPr>
      <a:lvl8pPr marL="1243754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8pPr>
      <a:lvl9pPr marL="1658340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9pPr>
    </p:titleStyle>
    <p:bodyStyle>
      <a:lvl1pPr algn="l" defTabSz="928498" rtl="0" eaLnBrk="1" fontAlgn="base" hangingPunct="1">
        <a:spcBef>
          <a:spcPct val="6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259115" indent="-259115" algn="l" defTabSz="928498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SzPct val="100000"/>
        <a:buFont typeface="Trebuchet MS" pitchFamily="34" charset="0"/>
        <a:buChar char="•"/>
        <a:defRPr>
          <a:solidFill>
            <a:schemeClr val="bg2"/>
          </a:solidFill>
          <a:latin typeface="+mn-lt"/>
        </a:defRPr>
      </a:lvl2pPr>
      <a:lvl3pPr marL="570055" indent="-260556" algn="l" defTabSz="928498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Font typeface="Arial" pitchFamily="34" charset="0"/>
        <a:buChar char="–"/>
        <a:defRPr>
          <a:solidFill>
            <a:schemeClr val="bg2"/>
          </a:solidFill>
          <a:latin typeface="+mn-lt"/>
        </a:defRPr>
      </a:lvl3pPr>
      <a:lvl4pPr marL="829170" indent="-259115" algn="l" defTabSz="928498" rtl="0" eaLnBrk="1" fontAlgn="base" hangingPunct="1">
        <a:spcBef>
          <a:spcPct val="20000"/>
        </a:spcBef>
        <a:spcAft>
          <a:spcPct val="0"/>
        </a:spcAft>
        <a:defRPr>
          <a:solidFill>
            <a:schemeClr val="bg2"/>
          </a:solidFill>
          <a:latin typeface="+mn-lt"/>
        </a:defRPr>
      </a:lvl4pPr>
      <a:lvl5pPr marL="1891544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>
          <a:solidFill>
            <a:srgbClr val="000000"/>
          </a:solidFill>
          <a:latin typeface="+mn-lt"/>
        </a:defRPr>
      </a:lvl5pPr>
      <a:lvl6pPr marL="2306129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6pPr>
      <a:lvl7pPr marL="2720715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7pPr>
      <a:lvl8pPr marL="3135299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8pPr>
      <a:lvl9pPr marL="3549885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41458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82917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1243754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165834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07292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6pPr>
      <a:lvl7pPr marL="248751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7pPr>
      <a:lvl8pPr marL="290209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8pPr>
      <a:lvl9pPr marL="331668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0">
          <p15:clr>
            <a:srgbClr val="F26B43"/>
          </p15:clr>
        </p15:guide>
        <p15:guide id="3" pos="288">
          <p15:clr>
            <a:srgbClr val="F26B43"/>
          </p15:clr>
        </p15:guide>
        <p15:guide id="4" pos="8180">
          <p15:clr>
            <a:srgbClr val="F26B43"/>
          </p15:clr>
        </p15:guide>
        <p15:guide id="5" orient="horz" pos="43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522E550-1436-4F52-AD73-E363646EC1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801" y="858871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522E550-1436-4F52-AD73-E363646EC1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01" y="858871"/>
                        <a:ext cx="1080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BAC3D14-2268-41C8-8166-36FAD47A47F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41" y="543"/>
            <a:ext cx="143961" cy="1439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2308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539" b="1">
              <a:solidFill>
                <a:srgbClr val="5F5F5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6E008E-4AC4-7D4D-8E1B-F0FFC77F8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e: </a:t>
            </a:r>
            <a:r>
              <a:rPr lang="de-DE" dirty="0" err="1"/>
              <a:t>Inner </a:t>
            </a:r>
            <a:r>
              <a:rPr lang="de-DE" dirty="0"/>
              <a:t>Work – The EFI</a:t>
            </a:r>
            <a:br>
              <a:rPr lang="de-DE" dirty="0"/>
            </a:br>
            <a:endParaRPr lang="de-DE" dirty="0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DFED40B2-210D-44A0-9E85-698144A5842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V="1">
            <a:off x="0" y="1339170"/>
            <a:ext cx="12192000" cy="4968644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42544477-1E9B-40DC-BA0D-8D87EE9A8D15}"/>
              </a:ext>
            </a:extLst>
          </p:cNvPr>
          <p:cNvSpPr/>
          <p:nvPr/>
        </p:nvSpPr>
        <p:spPr bwMode="auto">
          <a:xfrm flipV="1">
            <a:off x="0" y="1029291"/>
            <a:ext cx="12192000" cy="4968644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70" err="1">
              <a:solidFill>
                <a:srgbClr val="5F5F5F"/>
              </a:solidFill>
              <a:latin typeface="Trebuchet MS"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85F035CB-AD72-41A1-9075-8A53155EAE02}"/>
              </a:ext>
            </a:extLst>
          </p:cNvPr>
          <p:cNvCxnSpPr>
            <a:cxnSpLocks/>
          </p:cNvCxnSpPr>
          <p:nvPr/>
        </p:nvCxnSpPr>
        <p:spPr bwMode="auto">
          <a:xfrm>
            <a:off x="414655" y="1874744"/>
            <a:ext cx="11362691" cy="0"/>
          </a:xfrm>
          <a:prstGeom prst="straightConnector1">
            <a:avLst/>
          </a:prstGeom>
          <a:noFill/>
          <a:ln w="63500" cap="flat" cmpd="sng" algn="ctr">
            <a:solidFill>
              <a:srgbClr val="4D93BF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0" name="Rectangle 60">
            <a:extLst>
              <a:ext uri="{FF2B5EF4-FFF2-40B4-BE49-F238E27FC236}">
                <a16:creationId xmlns:a16="http://schemas.microsoft.com/office/drawing/2014/main" id="{04D41E10-47FA-43A6-89E9-6D14129985C6}"/>
              </a:ext>
            </a:extLst>
          </p:cNvPr>
          <p:cNvSpPr/>
          <p:nvPr/>
        </p:nvSpPr>
        <p:spPr>
          <a:xfrm>
            <a:off x="414656" y="1398408"/>
            <a:ext cx="3985894" cy="382982"/>
          </a:xfrm>
          <a:prstGeom prst="rect">
            <a:avLst/>
          </a:prstGeom>
          <a:solidFill>
            <a:srgbClr val="91AB00"/>
          </a:solidFill>
        </p:spPr>
        <p:txBody>
          <a:bodyPr wrap="none" lIns="97935" tIns="65291" rIns="97935" bIns="65291" anchor="ctr" anchorCtr="0">
            <a:noAutofit/>
          </a:bodyPr>
          <a:lstStyle/>
          <a:p>
            <a:pPr defTabSz="914008" fontAlgn="base">
              <a:spcBef>
                <a:spcPct val="0"/>
              </a:spcBef>
              <a:spcAft>
                <a:spcPct val="0"/>
              </a:spcAft>
            </a:pPr>
            <a:r>
              <a:rPr lang="de-DE" sz="1632" b="1" dirty="0" err="1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nner </a:t>
            </a:r>
            <a:r>
              <a:rPr lang="de-DE" sz="1632" b="1" dirty="0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Work Coaching with the EFI</a:t>
            </a:r>
          </a:p>
        </p:txBody>
      </p:sp>
      <p:sp>
        <p:nvSpPr>
          <p:cNvPr id="41" name="Textplatzhalter 14">
            <a:extLst>
              <a:ext uri="{FF2B5EF4-FFF2-40B4-BE49-F238E27FC236}">
                <a16:creationId xmlns:a16="http://schemas.microsoft.com/office/drawing/2014/main" id="{60F32C25-F0B1-4F50-BB62-D7BDE8B0ECEC}"/>
              </a:ext>
            </a:extLst>
          </p:cNvPr>
          <p:cNvSpPr txBox="1">
            <a:spLocks/>
          </p:cNvSpPr>
          <p:nvPr/>
        </p:nvSpPr>
        <p:spPr bwMode="auto">
          <a:xfrm>
            <a:off x="414656" y="2349892"/>
            <a:ext cx="3523741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Content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Theoretical and scientific foundations of the FiRE model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Indications and contraindication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Scientific Basi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Structure and Functioning of the EFI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The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eight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Spheres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of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Resilience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Professionally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debriefing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EFI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results</a:t>
            </a:r>
            <a:endParaRPr lang="de-DE" sz="1400" kern="0" dirty="0">
              <a:solidFill>
                <a:srgbClr val="5F5F5F"/>
              </a:solidFill>
              <a:latin typeface="Trebuchet MS"/>
            </a:endParaRP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Guiding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clients 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in reflection and development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Certification based on the EFI exam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Peer debriefing of one’s own EFI profile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Three EFI profiles for practice coaching sessions</a:t>
            </a:r>
          </a:p>
        </p:txBody>
      </p:sp>
      <p:sp>
        <p:nvSpPr>
          <p:cNvPr id="42" name="Textplatzhalter 14">
            <a:extLst>
              <a:ext uri="{FF2B5EF4-FFF2-40B4-BE49-F238E27FC236}">
                <a16:creationId xmlns:a16="http://schemas.microsoft.com/office/drawing/2014/main" id="{FAC31381-1989-4980-AAEB-1C8EA01DAC23}"/>
              </a:ext>
            </a:extLst>
          </p:cNvPr>
          <p:cNvSpPr txBox="1">
            <a:spLocks/>
          </p:cNvSpPr>
          <p:nvPr/>
        </p:nvSpPr>
        <p:spPr bwMode="auto">
          <a:xfrm>
            <a:off x="4334130" y="2349890"/>
            <a:ext cx="3523741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Methods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Interactive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approach</a:t>
            </a:r>
            <a:endParaRPr lang="de-DE" sz="1400" kern="0" dirty="0">
              <a:solidFill>
                <a:srgbClr val="5F5F5F"/>
              </a:solidFill>
              <a:latin typeface="Trebuchet MS"/>
            </a:endParaRP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Exchange and dialogue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Review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learning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through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quizzes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</a:rPr>
              <a:t>In-depth learning through practical examples, </a:t>
            </a:r>
            <a:br>
              <a:rPr lang="de-DE" sz="1400" kern="0" dirty="0">
                <a:solidFill>
                  <a:srgbClr val="5F5F5F"/>
                </a:solidFill>
              </a:rPr>
            </a:br>
            <a:r>
              <a:rPr lang="de-DE" sz="1400" kern="0" dirty="0">
                <a:solidFill>
                  <a:srgbClr val="5F5F5F"/>
                </a:solidFill>
              </a:rPr>
              <a:t>demo debriefings, and case studies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</a:rPr>
              <a:t>Peer exchange to ensure confident application in your own coaching practice</a:t>
            </a:r>
          </a:p>
          <a:p>
            <a:pPr marL="0" lvl="1" indent="0" defTabSz="928630">
              <a:spcBef>
                <a:spcPts val="0"/>
              </a:spcBef>
              <a:buNone/>
            </a:pPr>
            <a:endParaRPr lang="de-DE" sz="1400" kern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43" name="Textplatzhalter 14">
            <a:extLst>
              <a:ext uri="{FF2B5EF4-FFF2-40B4-BE49-F238E27FC236}">
                <a16:creationId xmlns:a16="http://schemas.microsoft.com/office/drawing/2014/main" id="{0619F327-5FF9-456E-B305-EE9CE98845A8}"/>
              </a:ext>
            </a:extLst>
          </p:cNvPr>
          <p:cNvSpPr txBox="1">
            <a:spLocks/>
          </p:cNvSpPr>
          <p:nvPr/>
        </p:nvSpPr>
        <p:spPr bwMode="auto">
          <a:xfrm>
            <a:off x="8279317" y="2084981"/>
            <a:ext cx="3638376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Your Benefits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A compact training program in working with the EFI as a foundation for supporting individuals, teams, and organizations through change, accredited by the ICF (26 CCEs).</a:t>
            </a:r>
          </a:p>
        </p:txBody>
      </p:sp>
      <p:sp>
        <p:nvSpPr>
          <p:cNvPr id="47" name="Textplatzhalter 14">
            <a:extLst>
              <a:ext uri="{FF2B5EF4-FFF2-40B4-BE49-F238E27FC236}">
                <a16:creationId xmlns:a16="http://schemas.microsoft.com/office/drawing/2014/main" id="{8D5100D3-903E-4607-9BFC-0E4295B38B20}"/>
              </a:ext>
            </a:extLst>
          </p:cNvPr>
          <p:cNvSpPr txBox="1">
            <a:spLocks/>
          </p:cNvSpPr>
          <p:nvPr/>
        </p:nvSpPr>
        <p:spPr bwMode="auto">
          <a:xfrm>
            <a:off x="8322089" y="3439861"/>
            <a:ext cx="3523741" cy="107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2645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b="1" kern="0" dirty="0">
                <a:solidFill>
                  <a:srgbClr val="5F5F5F"/>
                </a:solidFill>
                <a:latin typeface="Trebuchet MS"/>
              </a:rPr>
              <a:t>Scope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17.5 hours synchronous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    (Kickoff; 4 x 4-hour workshops)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8.5 hours asynchronous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    (Preparation, EFI debriefings)</a:t>
            </a:r>
          </a:p>
        </p:txBody>
      </p:sp>
      <p:sp>
        <p:nvSpPr>
          <p:cNvPr id="48" name="Textplatzhalter 14">
            <a:extLst>
              <a:ext uri="{FF2B5EF4-FFF2-40B4-BE49-F238E27FC236}">
                <a16:creationId xmlns:a16="http://schemas.microsoft.com/office/drawing/2014/main" id="{9C3BEE87-8648-49F2-A9E7-BC9733FF66D6}"/>
              </a:ext>
            </a:extLst>
          </p:cNvPr>
          <p:cNvSpPr txBox="1">
            <a:spLocks/>
          </p:cNvSpPr>
          <p:nvPr/>
        </p:nvSpPr>
        <p:spPr bwMode="auto">
          <a:xfrm>
            <a:off x="8322089" y="4704726"/>
            <a:ext cx="3523741" cy="893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2645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b="1" kern="0" dirty="0">
                <a:solidFill>
                  <a:srgbClr val="5F5F5F"/>
                </a:solidFill>
                <a:latin typeface="Trebuchet MS"/>
              </a:rPr>
              <a:t>Your Lead Coaches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Karsten Drath (ICF PCC)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Carolin Zeller (ICF PCC)</a:t>
            </a:r>
            <a:br>
              <a:rPr lang="de-DE" sz="1542" kern="0" dirty="0">
                <a:solidFill>
                  <a:srgbClr val="5F5F5F"/>
                </a:solidFill>
                <a:latin typeface="Trebuchet MS"/>
              </a:rPr>
            </a:br>
            <a:endParaRPr lang="de-DE" sz="1542" kern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44" name="Rectangle 60">
            <a:extLst>
              <a:ext uri="{FF2B5EF4-FFF2-40B4-BE49-F238E27FC236}">
                <a16:creationId xmlns:a16="http://schemas.microsoft.com/office/drawing/2014/main" id="{0693096C-988E-45D0-9C54-FDAD1AEE3234}"/>
              </a:ext>
            </a:extLst>
          </p:cNvPr>
          <p:cNvSpPr/>
          <p:nvPr/>
        </p:nvSpPr>
        <p:spPr>
          <a:xfrm>
            <a:off x="0" y="5916248"/>
            <a:ext cx="12192000" cy="423290"/>
          </a:xfrm>
          <a:prstGeom prst="rect">
            <a:avLst/>
          </a:prstGeom>
          <a:solidFill>
            <a:srgbClr val="91AB00"/>
          </a:solidFill>
        </p:spPr>
        <p:txBody>
          <a:bodyPr wrap="square" lIns="24481" tIns="24481" rIns="24481" bIns="24481" anchor="ctr" anchorCtr="0">
            <a:noAutofit/>
          </a:bodyPr>
          <a:lstStyle/>
          <a:p>
            <a:pPr lvl="0" algn="ctr" defTabSz="914008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Arial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B85979C-A592-4A7D-BF81-064D45BDD1AB}"/>
              </a:ext>
            </a:extLst>
          </p:cNvPr>
          <p:cNvGrpSpPr/>
          <p:nvPr/>
        </p:nvGrpSpPr>
        <p:grpSpPr>
          <a:xfrm>
            <a:off x="4136264" y="2349890"/>
            <a:ext cx="3919475" cy="3415568"/>
            <a:chOff x="4560661" y="2590800"/>
            <a:chExt cx="4321629" cy="344709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9834E9A-F244-4B0F-8A84-6E1FF4F7E2C8}"/>
                </a:ext>
              </a:extLst>
            </p:cNvPr>
            <p:cNvCxnSpPr/>
            <p:nvPr/>
          </p:nvCxnSpPr>
          <p:spPr bwMode="auto">
            <a:xfrm>
              <a:off x="4560661" y="2590800"/>
              <a:ext cx="0" cy="3447098"/>
            </a:xfrm>
            <a:prstGeom prst="line">
              <a:avLst/>
            </a:prstGeom>
            <a:noFill/>
            <a:ln w="9525" cap="flat" cmpd="sng" algn="ctr">
              <a:solidFill>
                <a:srgbClr val="4D93B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573A0C0-A499-4B58-8F54-CA73F2F9EF25}"/>
                </a:ext>
              </a:extLst>
            </p:cNvPr>
            <p:cNvCxnSpPr/>
            <p:nvPr/>
          </p:nvCxnSpPr>
          <p:spPr bwMode="auto">
            <a:xfrm>
              <a:off x="8882290" y="2590800"/>
              <a:ext cx="0" cy="3447098"/>
            </a:xfrm>
            <a:prstGeom prst="line">
              <a:avLst/>
            </a:prstGeom>
            <a:noFill/>
            <a:ln w="9525" cap="flat" cmpd="sng" algn="ctr">
              <a:solidFill>
                <a:srgbClr val="4D93B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399FF927-371C-475F-1DAF-ADA7C55336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164" y="292459"/>
            <a:ext cx="813177" cy="813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581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:a14="http://schemas.microsoft.com/office/drawing/2010/main" xmlns:v="urn:schemas-microsoft-com:vml" xmlns:a16="http://schemas.microsoft.com/office/drawing/2014/main"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7yJZg5y1ULTUQcWr.7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Jk44MMTzyB3rJGGyRj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MvN3qQpSYVMrJQirv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8HzW7sSnyL1o38Q8h3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ehTBUkEKd0ljnFRfI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OTLvbWRkOImGLZT9mZ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VH4ju9TXmOfuXSinigfg"/>
</p:tagLst>
</file>

<file path=ppt/theme/theme1.xml><?xml version="1.0" encoding="utf-8"?>
<a:theme xmlns:a="http://schemas.openxmlformats.org/drawingml/2006/main" name="LeadershipChoices_16zu9">
  <a:themeElements>
    <a:clrScheme name="Leadership ChoicesALT">
      <a:dk1>
        <a:srgbClr val="000000"/>
      </a:dk1>
      <a:lt1>
        <a:srgbClr val="FFFFFF"/>
      </a:lt1>
      <a:dk2>
        <a:srgbClr val="6C122C"/>
      </a:dk2>
      <a:lt2>
        <a:srgbClr val="5F5F5F"/>
      </a:lt2>
      <a:accent1>
        <a:srgbClr val="B11D47"/>
      </a:accent1>
      <a:accent2>
        <a:srgbClr val="DCDCDC"/>
      </a:accent2>
      <a:accent3>
        <a:srgbClr val="C0C0C0"/>
      </a:accent3>
      <a:accent4>
        <a:srgbClr val="808080"/>
      </a:accent4>
      <a:accent5>
        <a:srgbClr val="F8D4DE"/>
      </a:accent5>
      <a:accent6>
        <a:srgbClr val="B20000"/>
      </a:accent6>
      <a:hlink>
        <a:srgbClr val="EC9D00"/>
      </a:hlink>
      <a:folHlink>
        <a:srgbClr val="D68E00"/>
      </a:folHlink>
    </a:clrScheme>
    <a:fontScheme name="Standard Designschrift LeadershipChoice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2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Std 55 Roman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8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orlage LPGroup 1">
        <a:dk1>
          <a:srgbClr val="000000"/>
        </a:dk1>
        <a:lt1>
          <a:srgbClr val="FFFFFF"/>
        </a:lt1>
        <a:dk2>
          <a:srgbClr val="777777"/>
        </a:dk2>
        <a:lt2>
          <a:srgbClr val="969696"/>
        </a:lt2>
        <a:accent1>
          <a:srgbClr val="DDDDDD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454545"/>
        </a:accent6>
        <a:hlink>
          <a:srgbClr val="B2B2B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LPGroup 2">
        <a:dk1>
          <a:srgbClr val="000000"/>
        </a:dk1>
        <a:lt1>
          <a:srgbClr val="FFFFFF"/>
        </a:lt1>
        <a:dk2>
          <a:srgbClr val="FFF5C3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CCECFF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LPGroup 3">
        <a:dk1>
          <a:srgbClr val="000000"/>
        </a:dk1>
        <a:lt1>
          <a:srgbClr val="FFFFFF"/>
        </a:lt1>
        <a:dk2>
          <a:srgbClr val="8D1739"/>
        </a:dk2>
        <a:lt2>
          <a:srgbClr val="A9A49F"/>
        </a:lt2>
        <a:accent1>
          <a:srgbClr val="B11D47"/>
        </a:accent1>
        <a:accent2>
          <a:srgbClr val="F0A000"/>
        </a:accent2>
        <a:accent3>
          <a:srgbClr val="FFFFFF"/>
        </a:accent3>
        <a:accent4>
          <a:srgbClr val="000000"/>
        </a:accent4>
        <a:accent5>
          <a:srgbClr val="D5ABB1"/>
        </a:accent5>
        <a:accent6>
          <a:srgbClr val="D99100"/>
        </a:accent6>
        <a:hlink>
          <a:srgbClr val="DF3968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86B08"/>
    </a:custClr>
    <a:custClr name="Custom Color 2">
      <a:srgbClr val="91AB00"/>
    </a:custClr>
    <a:custClr name="Custom Color 3">
      <a:srgbClr val="F2CAA7"/>
    </a:custClr>
    <a:custClr name="Custom Color 4">
      <a:srgbClr val="D97925"/>
    </a:custClr>
    <a:custClr name="Custom Color 5">
      <a:srgbClr val="4A2118"/>
    </a:custClr>
    <a:custClr name="Custom Color 6">
      <a:srgbClr val="B3D1E3"/>
    </a:custClr>
    <a:custClr name="Custom Color 7">
      <a:srgbClr val="4D93BF"/>
    </a:custClr>
    <a:custClr name="Custom Color 8">
      <a:srgbClr val="33627F"/>
    </a:custClr>
    <a:custClr name="Custom Color 9">
      <a:srgbClr val="C0C2E2"/>
    </a:custClr>
    <a:custClr name="Custom Color 10">
      <a:srgbClr val="595DA8"/>
    </a:custClr>
  </a:custClr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2970082D6F801408623933478C3C295" ma:contentTypeVersion="14" ma:contentTypeDescription="Ein neues Dokument erstellen." ma:contentTypeScope="" ma:versionID="a60016257f0b5fe37dc7c42af5f4b504">
  <xsd:schema xmlns:xsd="http://www.w3.org/2001/XMLSchema" xmlns:xs="http://www.w3.org/2001/XMLSchema" xmlns:p="http://schemas.microsoft.com/office/2006/metadata/properties" xmlns:ns2="8c1317cf-820d-4a1e-94e6-8ead6a617bea" xmlns:ns3="6a64799c-2b18-40b1-8306-a90f47b1632b" targetNamespace="http://schemas.microsoft.com/office/2006/metadata/properties" ma:root="true" ma:fieldsID="a0aa10d503515876be2e01e4fee51c9e" ns2:_="" ns3:_="">
    <xsd:import namespace="8c1317cf-820d-4a1e-94e6-8ead6a617bea"/>
    <xsd:import namespace="6a64799c-2b18-40b1-8306-a90f47b163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317cf-820d-4a1e-94e6-8ead6a617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be427874-c315-4181-951f-64f192cf9c1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64799c-2b18-40b1-8306-a90f47b1632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89510854-9ec5-47c6-a2f2-d39d2bac3c46}" ma:internalName="TaxCatchAll" ma:showField="CatchAllData" ma:web="6a64799c-2b18-40b1-8306-a90f47b163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a64799c-2b18-40b1-8306-a90f47b1632b" xsi:nil="true"/>
    <lcf76f155ced4ddcb4097134ff3c332f xmlns="8c1317cf-820d-4a1e-94e6-8ead6a617bea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58593F-A512-499C-BF59-0670C75867D6}"/>
</file>

<file path=customXml/itemProps2.xml><?xml version="1.0" encoding="utf-8"?>
<ds:datastoreItem xmlns:ds="http://schemas.openxmlformats.org/officeDocument/2006/customXml" ds:itemID="{8738295C-0169-49E2-839B-642CC7844B50}">
  <ds:schemaRefs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42637065-f5d3-4a47-b0e2-1341d8895f17"/>
  </ds:schemaRefs>
</ds:datastoreItem>
</file>

<file path=customXml/itemProps3.xml><?xml version="1.0" encoding="utf-8"?>
<ds:datastoreItem xmlns:ds="http://schemas.openxmlformats.org/officeDocument/2006/customXml" ds:itemID="{8A27B7F4-3585-47F9-A42A-7B181479AA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9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LT Std 55 Roman</vt:lpstr>
      <vt:lpstr>Trebuchet MS</vt:lpstr>
      <vt:lpstr>Wingdings</vt:lpstr>
      <vt:lpstr>LeadershipChoices_16zu9</vt:lpstr>
      <vt:lpstr>think-cell Folie</vt:lpstr>
      <vt:lpstr>Module: Inner Work – The EFI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 1</dc:title>
  <dc:creator>Doris van de Sand</dc:creator>
  <cp:keywords>, docId:10DBA2589C9E06600BA651BC0D73774C</cp:keywords>
  <cp:lastModifiedBy>Karsten Drath</cp:lastModifiedBy>
  <cp:revision>3</cp:revision>
  <cp:lastPrinted>2026-02-18T12:56:16Z</cp:lastPrinted>
  <dcterms:created xsi:type="dcterms:W3CDTF">2021-04-13T12:08:10Z</dcterms:created>
  <dcterms:modified xsi:type="dcterms:W3CDTF">2026-05-09T05:2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970082D6F801408623933478C3C295</vt:lpwstr>
  </property>
  <property fmtid="{D5CDD505-2E9C-101B-9397-08002B2CF9AE}" pid="3" name="MediaServiceImageTags">
    <vt:lpwstr/>
  </property>
</Properties>
</file>